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3"/>
  </p:notesMasterIdLst>
  <p:handoutMasterIdLst>
    <p:handoutMasterId r:id="rId54"/>
  </p:handoutMasterIdLst>
  <p:sldIdLst>
    <p:sldId id="2147140411" r:id="rId5"/>
    <p:sldId id="2147140511" r:id="rId6"/>
    <p:sldId id="2147140425" r:id="rId7"/>
    <p:sldId id="2147140525" r:id="rId8"/>
    <p:sldId id="2147140540" r:id="rId9"/>
    <p:sldId id="2147140484" r:id="rId10"/>
    <p:sldId id="2147140528" r:id="rId11"/>
    <p:sldId id="2147140537" r:id="rId12"/>
    <p:sldId id="2147140529" r:id="rId13"/>
    <p:sldId id="2147140538" r:id="rId14"/>
    <p:sldId id="2147140485" r:id="rId15"/>
    <p:sldId id="2147140506" r:id="rId16"/>
    <p:sldId id="2147140530" r:id="rId17"/>
    <p:sldId id="2147140489" r:id="rId18"/>
    <p:sldId id="2147140497" r:id="rId19"/>
    <p:sldId id="2147140510" r:id="rId20"/>
    <p:sldId id="2147140536" r:id="rId21"/>
    <p:sldId id="2147140490" r:id="rId22"/>
    <p:sldId id="2147140524" r:id="rId23"/>
    <p:sldId id="2147140509" r:id="rId24"/>
    <p:sldId id="2147140513" r:id="rId25"/>
    <p:sldId id="2147140514" r:id="rId26"/>
    <p:sldId id="2147140515" r:id="rId27"/>
    <p:sldId id="2147140533" r:id="rId28"/>
    <p:sldId id="2147140516" r:id="rId29"/>
    <p:sldId id="2147140541" r:id="rId30"/>
    <p:sldId id="2147140539" r:id="rId31"/>
    <p:sldId id="2147140448" r:id="rId32"/>
    <p:sldId id="2147140523" r:id="rId33"/>
    <p:sldId id="2147140455" r:id="rId34"/>
    <p:sldId id="2147140479" r:id="rId35"/>
    <p:sldId id="2147140531" r:id="rId36"/>
    <p:sldId id="2147140532" r:id="rId37"/>
    <p:sldId id="2147140534" r:id="rId38"/>
    <p:sldId id="2147140517" r:id="rId39"/>
    <p:sldId id="2147140518" r:id="rId40"/>
    <p:sldId id="2147140520" r:id="rId41"/>
    <p:sldId id="2147140519" r:id="rId42"/>
    <p:sldId id="2147140527" r:id="rId43"/>
    <p:sldId id="2147140526" r:id="rId44"/>
    <p:sldId id="2147140421" r:id="rId45"/>
    <p:sldId id="2147140522" r:id="rId46"/>
    <p:sldId id="2147140423" r:id="rId47"/>
    <p:sldId id="2147140458" r:id="rId48"/>
    <p:sldId id="2147140424" r:id="rId49"/>
    <p:sldId id="2147140450" r:id="rId50"/>
    <p:sldId id="2147140481" r:id="rId51"/>
    <p:sldId id="2147140451" r:id="rId52"/>
  </p:sldIdLst>
  <p:sldSz cx="12192000" cy="6858000"/>
  <p:notesSz cx="6858000" cy="9144000"/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425"/>
            <p14:sldId id="2147140525"/>
            <p14:sldId id="2147140540"/>
            <p14:sldId id="2147140484"/>
            <p14:sldId id="2147140528"/>
            <p14:sldId id="2147140537"/>
            <p14:sldId id="2147140529"/>
            <p14:sldId id="2147140538"/>
            <p14:sldId id="2147140485"/>
            <p14:sldId id="2147140506"/>
            <p14:sldId id="2147140530"/>
            <p14:sldId id="2147140489"/>
            <p14:sldId id="2147140497"/>
            <p14:sldId id="2147140510"/>
            <p14:sldId id="2147140536"/>
            <p14:sldId id="2147140490"/>
            <p14:sldId id="2147140524"/>
            <p14:sldId id="2147140509"/>
            <p14:sldId id="2147140513"/>
            <p14:sldId id="2147140514"/>
            <p14:sldId id="2147140515"/>
            <p14:sldId id="2147140533"/>
            <p14:sldId id="2147140516"/>
            <p14:sldId id="2147140541"/>
            <p14:sldId id="2147140539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458"/>
            <p14:sldId id="2147140424"/>
            <p14:sldId id="2147140450"/>
            <p14:sldId id="2147140481"/>
            <p14:sldId id="214714045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29"/>
    <p:restoredTop sz="94605"/>
  </p:normalViewPr>
  <p:slideViewPr>
    <p:cSldViewPr snapToGrid="0">
      <p:cViewPr varScale="1">
        <p:scale>
          <a:sx n="59" d="100"/>
          <a:sy n="59" d="100"/>
        </p:scale>
        <p:origin x="68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8/10/relationships/authors" Target="authors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3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4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4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4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0.png"/><Relationship Id="rId2" Type="http://schemas.openxmlformats.org/officeDocument/2006/relationships/image" Target="../media/image550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34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 dirty="0">
                <a:latin typeface="Graphik"/>
              </a:rPr>
              <a:t>Effectiveness of benefit targe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054687"/>
            <a:ext cx="4698834" cy="615553"/>
          </a:xfrm>
        </p:spPr>
        <p:txBody>
          <a:bodyPr/>
          <a:lstStyle/>
          <a:p>
            <a:r>
              <a:rPr lang="en-US" dirty="0"/>
              <a:t>Korea-Australia Tax Symposium </a:t>
            </a:r>
            <a:br>
              <a:rPr lang="en-US" dirty="0"/>
            </a:br>
            <a:r>
              <a:rPr lang="en-US" dirty="0"/>
              <a:t>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B0E6651-2B0B-3355-6B3E-6C72AE7EF88B}"/>
              </a:ext>
            </a:extLst>
          </p:cNvPr>
          <p:cNvSpPr txBox="1">
            <a:spLocks/>
          </p:cNvSpPr>
          <p:nvPr/>
        </p:nvSpPr>
        <p:spPr>
          <a:xfrm>
            <a:off x="7207417" y="5895310"/>
            <a:ext cx="469883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20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206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914411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371617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828823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Pelin Akyol, Erin Clarke, Gianni La Cava,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032FE-CF0D-F766-D42B-397FFC722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A61E0-448B-D5B1-61EA-A68AF1E39E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6E6ABE-EB05-8D67-FED7-0C8E2142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55246-F57A-9173-2ED1-0B8DD671EA4A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19316F-6EA8-A52F-02F7-2A74F09BEB88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DE7B55-EC70-2A20-BB60-C14A1015BA0F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91425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  <p:pic>
        <p:nvPicPr>
          <p:cNvPr id="5" name="Picture 4" descr="A graph of a graph with numbers and lines&#10;&#10;Description automatically generated">
            <a:extLst>
              <a:ext uri="{FF2B5EF4-FFF2-40B4-BE49-F238E27FC236}">
                <a16:creationId xmlns:a16="http://schemas.microsoft.com/office/drawing/2014/main" id="{DA4B85BE-069E-05D0-2302-A756A2BB9C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86" y="1840218"/>
            <a:ext cx="4939422" cy="3796971"/>
          </a:xfrm>
          <a:prstGeom prst="rect">
            <a:avLst/>
          </a:prstGeom>
        </p:spPr>
      </p:pic>
      <p:pic>
        <p:nvPicPr>
          <p:cNvPr id="7" name="Picture 6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4104F4A8-7293-6BFD-C880-A64CB9F7BC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40218"/>
            <a:ext cx="5168100" cy="3796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6" name="Picture 5" descr="A graph of a graph with a line graph and text&#10;&#10;Description automatically generated">
            <a:extLst>
              <a:ext uri="{FF2B5EF4-FFF2-40B4-BE49-F238E27FC236}">
                <a16:creationId xmlns:a16="http://schemas.microsoft.com/office/drawing/2014/main" id="{56A3EA09-23F8-6026-0F20-89C552AB43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29" y="2199987"/>
            <a:ext cx="4905301" cy="3770742"/>
          </a:xfrm>
          <a:prstGeom prst="rect">
            <a:avLst/>
          </a:prstGeom>
        </p:spPr>
      </p:pic>
      <p:pic>
        <p:nvPicPr>
          <p:cNvPr id="8" name="Picture 7" descr="A graph of a graph showing a graph of a job loss&#10;&#10;Description automatically generated with medium confidence">
            <a:extLst>
              <a:ext uri="{FF2B5EF4-FFF2-40B4-BE49-F238E27FC236}">
                <a16:creationId xmlns:a16="http://schemas.microsoft.com/office/drawing/2014/main" id="{4AE08E8B-30D3-CFEA-035B-AFE29FE908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72" y="2199986"/>
            <a:ext cx="4905299" cy="377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  <p:pic>
        <p:nvPicPr>
          <p:cNvPr id="5" name="Picture 4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205A739A-E19E-B20D-7F10-070BC617DA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02" y="2968726"/>
            <a:ext cx="4860059" cy="3570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1C059-C452-D6D6-CF25-65FEB08FF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7E26EF-1CD9-4F7E-181B-54667771A8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1D447-EBCD-B7F4-0D55-2BE05C0E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 type: Partnership statu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29993-7279-1E20-1C17-94402BEC1BAB}"/>
              </a:ext>
            </a:extLst>
          </p:cNvPr>
          <p:cNvSpPr txBox="1"/>
          <p:nvPr/>
        </p:nvSpPr>
        <p:spPr>
          <a:xfrm>
            <a:off x="370417" y="1272957"/>
            <a:ext cx="9530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ntire difference due to individuals who are partnered who take-up the payment</a:t>
            </a:r>
            <a:endParaRPr lang="en-NZ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602B0E-E4BC-689E-A56E-37ED8EA7F679}"/>
              </a:ext>
            </a:extLst>
          </p:cNvPr>
          <p:cNvSpPr txBox="1"/>
          <p:nvPr/>
        </p:nvSpPr>
        <p:spPr>
          <a:xfrm>
            <a:off x="370416" y="5400377"/>
            <a:ext cx="1100147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mited </a:t>
            </a:r>
            <a:r>
              <a:rPr lang="en-US" b="1" dirty="0"/>
              <a:t>partnered non-recipient</a:t>
            </a:r>
            <a:r>
              <a:rPr lang="en-US" dirty="0"/>
              <a:t> response indicates that partner income testing may be appropri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esponse by </a:t>
            </a:r>
            <a:r>
              <a:rPr lang="en-US" b="1" dirty="0"/>
              <a:t>partnered recipients</a:t>
            </a:r>
            <a:r>
              <a:rPr lang="en-US" dirty="0"/>
              <a:t> suggests that this group is significantly constrained after a </a:t>
            </a:r>
            <a:br>
              <a:rPr lang="en-US" dirty="0"/>
            </a:br>
            <a:r>
              <a:rPr lang="en-US" dirty="0"/>
              <a:t>job loss shock - may motivate higher couple payments</a:t>
            </a:r>
            <a:endParaRPr lang="en-NZ" dirty="0"/>
          </a:p>
        </p:txBody>
      </p:sp>
      <p:pic>
        <p:nvPicPr>
          <p:cNvPr id="6" name="Picture 5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395C634C-082B-AD19-81B2-6C978954B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87" y="1839304"/>
            <a:ext cx="4138212" cy="3364057"/>
          </a:xfrm>
          <a:prstGeom prst="rect">
            <a:avLst/>
          </a:prstGeom>
        </p:spPr>
      </p:pic>
      <p:pic>
        <p:nvPicPr>
          <p:cNvPr id="9" name="Picture 8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BE6B20B9-D6D2-C1D6-DA0E-D625AC056C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050" y="1836213"/>
            <a:ext cx="4138213" cy="3364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13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ing social security into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 today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recipients and the role of 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6911843" y="1454167"/>
            <a:ext cx="4035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household income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7"/>
            <a:ext cx="4707568" cy="36507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BCAACA-FC47-A707-C576-B823C81ABA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596" y="2119223"/>
            <a:ext cx="4907571" cy="37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How much of the spending decline is due to no longer having to go to work?</a:t>
            </a:r>
            <a:endParaRPr lang="en-NZ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01" y="2258421"/>
            <a:ext cx="6219826" cy="45249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714EDE4-A369-8D4D-23F5-687C84AABB59}"/>
              </a:ext>
            </a:extLst>
          </p:cNvPr>
          <p:cNvSpPr txBox="1"/>
          <p:nvPr/>
        </p:nvSpPr>
        <p:spPr>
          <a:xfrm>
            <a:off x="7067122" y="3429000"/>
            <a:ext cx="484459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WFH due to COVID likely not exogenous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age</a:t>
            </a:r>
            <a:endParaRPr lang="en-NZ" dirty="0"/>
          </a:p>
        </p:txBody>
      </p:sp>
      <p:pic>
        <p:nvPicPr>
          <p:cNvPr id="5" name="Picture 4" descr="A graph with green and blue dots&#10;&#10;Description automatically generated">
            <a:extLst>
              <a:ext uri="{FF2B5EF4-FFF2-40B4-BE49-F238E27FC236}">
                <a16:creationId xmlns:a16="http://schemas.microsoft.com/office/drawing/2014/main" id="{823883A4-5801-E5D0-6EF5-430337FC4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2671"/>
            <a:ext cx="6867956" cy="49964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2A022E-56B0-75C7-DF82-8A7616921FDA}"/>
              </a:ext>
            </a:extLst>
          </p:cNvPr>
          <p:cNvSpPr txBox="1"/>
          <p:nvPr/>
        </p:nvSpPr>
        <p:spPr>
          <a:xfrm>
            <a:off x="6605086" y="751344"/>
            <a:ext cx="5667129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r sample is all individuals who are employed</a:t>
            </a:r>
            <a:br>
              <a:rPr lang="en-US" dirty="0"/>
            </a:br>
            <a:r>
              <a:rPr lang="en-US" dirty="0"/>
              <a:t>and don’t work from home in FY18 and FY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rument is the </a:t>
            </a:r>
            <a:r>
              <a:rPr lang="en-US" dirty="0">
                <a:solidFill>
                  <a:srgbClr val="00B050"/>
                </a:solidFill>
              </a:rPr>
              <a:t>industry-occupation level share </a:t>
            </a:r>
            <a:br>
              <a:rPr lang="en-US" dirty="0">
                <a:solidFill>
                  <a:srgbClr val="00B050"/>
                </a:solidFill>
              </a:rPr>
            </a:br>
            <a:r>
              <a:rPr lang="en-US" dirty="0">
                <a:solidFill>
                  <a:srgbClr val="00B050"/>
                </a:solidFill>
              </a:rPr>
              <a:t>of employees working from home in 2019</a:t>
            </a:r>
            <a:r>
              <a:rPr lang="en-US" dirty="0"/>
              <a:t> (for all </a:t>
            </a:r>
            <a:br>
              <a:rPr lang="en-US" dirty="0"/>
            </a:br>
            <a:r>
              <a:rPr lang="en-US" dirty="0"/>
              <a:t>employe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b="1" dirty="0"/>
              <a:t>relevance</a:t>
            </a:r>
            <a:r>
              <a:rPr lang="en-US" dirty="0"/>
              <a:t>, we would need the probability of</a:t>
            </a:r>
            <a:br>
              <a:rPr lang="en-US" dirty="0"/>
            </a:br>
            <a:r>
              <a:rPr lang="en-US" dirty="0"/>
              <a:t>working from home in 2020 to increase with the</a:t>
            </a:r>
            <a:br>
              <a:rPr lang="en-US" dirty="0"/>
            </a:br>
            <a:r>
              <a:rPr lang="en-US" dirty="0"/>
              <a:t>industry-occupation sh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-stat: 218 (not a wea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10ppt increase in the </a:t>
            </a:r>
            <a:r>
              <a:rPr lang="en-US" dirty="0" err="1"/>
              <a:t>ind:occ</a:t>
            </a:r>
            <a:r>
              <a:rPr lang="en-US" dirty="0"/>
              <a:t> share of individuals</a:t>
            </a:r>
            <a:br>
              <a:rPr lang="en-US" dirty="0"/>
            </a:br>
            <a:r>
              <a:rPr lang="en-US" dirty="0"/>
              <a:t>working from home increases WFH probabilities </a:t>
            </a:r>
            <a:br>
              <a:rPr lang="en-US" dirty="0"/>
            </a:br>
            <a:r>
              <a:rPr lang="en-US" dirty="0"/>
              <a:t>by 4.1p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clusion</a:t>
            </a:r>
            <a:r>
              <a:rPr lang="en-US" dirty="0"/>
              <a:t>: prior industry-occupation must not </a:t>
            </a:r>
            <a:br>
              <a:rPr lang="en-US" dirty="0"/>
            </a:br>
            <a:r>
              <a:rPr lang="en-US" dirty="0"/>
              <a:t>influence consumption directly (control channel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Job-loss ris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ome and employment stat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288454" y="2669592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1257" y="2989976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88454" y="5891376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58D2D80-0000-E12E-FA98-43DB092AAAA2}"/>
                  </a:ext>
                </a:extLst>
              </p:cNvPr>
              <p:cNvSpPr txBox="1"/>
              <p:nvPr/>
            </p:nvSpPr>
            <p:spPr>
              <a:xfrm>
                <a:off x="490328" y="1601202"/>
                <a:ext cx="66979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AU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𝜉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58D2D80-0000-E12E-FA98-43DB092AA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328" y="1601202"/>
                <a:ext cx="6697967" cy="276999"/>
              </a:xfrm>
              <a:prstGeom prst="rect">
                <a:avLst/>
              </a:prstGeom>
              <a:blipFill>
                <a:blip r:embed="rId3"/>
                <a:stretch>
                  <a:fillRect b="-40000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0C46556-CC66-119D-0004-51A4A3EA297E}"/>
                  </a:ext>
                </a:extLst>
              </p:cNvPr>
              <p:cNvSpPr txBox="1"/>
              <p:nvPr/>
            </p:nvSpPr>
            <p:spPr>
              <a:xfrm>
                <a:off x="490328" y="2112263"/>
                <a:ext cx="6697967" cy="2918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AU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0C46556-CC66-119D-0004-51A4A3EA29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328" y="2112263"/>
                <a:ext cx="6697967" cy="291811"/>
              </a:xfrm>
              <a:prstGeom prst="rect">
                <a:avLst/>
              </a:prstGeom>
              <a:blipFill>
                <a:blip r:embed="rId4"/>
                <a:stretch>
                  <a:fillRect t="-14583" b="-2083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367623-E8F0-DBB9-E86D-9009EA20F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B68523-2B0C-3236-B8D5-1D9BA74B7D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01D57D-3F57-D827-F21D-5E8085B8B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CF1018-907A-9FAF-79B5-C1E2D3953E06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96D04C-98A3-5707-4569-A0FBFBEF1EFA}"/>
              </a:ext>
            </a:extLst>
          </p:cNvPr>
          <p:cNvSpPr txBox="1"/>
          <p:nvPr/>
        </p:nvSpPr>
        <p:spPr>
          <a:xfrm>
            <a:off x="288454" y="5891376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94E30C3-D0FB-DE68-F60F-AE80E46D4961}"/>
                  </a:ext>
                </a:extLst>
              </p:cNvPr>
              <p:cNvSpPr txBox="1"/>
              <p:nvPr/>
            </p:nvSpPr>
            <p:spPr>
              <a:xfrm>
                <a:off x="490328" y="1601202"/>
                <a:ext cx="66979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AU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𝜉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94E30C3-D0FB-DE68-F60F-AE80E46D4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328" y="1601202"/>
                <a:ext cx="6697967" cy="276999"/>
              </a:xfrm>
              <a:prstGeom prst="rect">
                <a:avLst/>
              </a:prstGeom>
              <a:blipFill>
                <a:blip r:embed="rId2"/>
                <a:stretch>
                  <a:fillRect b="-40000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CD3B1ED-9A74-AA96-7ECE-327F98226BE2}"/>
                  </a:ext>
                </a:extLst>
              </p:cNvPr>
              <p:cNvSpPr txBox="1"/>
              <p:nvPr/>
            </p:nvSpPr>
            <p:spPr>
              <a:xfrm>
                <a:off x="490328" y="2112263"/>
                <a:ext cx="6697967" cy="2918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AU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A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</m:t>
                          </m:r>
                          <m:r>
                            <a:rPr lang="en-A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CD3B1ED-9A74-AA96-7ECE-327F98226B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328" y="2112263"/>
                <a:ext cx="6697967" cy="291811"/>
              </a:xfrm>
              <a:prstGeom prst="rect">
                <a:avLst/>
              </a:prstGeom>
              <a:blipFill>
                <a:blip r:embed="rId3"/>
                <a:stretch>
                  <a:fillRect t="-14583" b="-2083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B60D6E89-FF85-53B1-3042-E587075363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0328" y="2856602"/>
            <a:ext cx="4265633" cy="240019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391B8A-DC38-AE1A-2002-A38A8D08C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7861" y="2965307"/>
            <a:ext cx="5569597" cy="22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352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23369-6B93-2A31-0C8A-F9676888A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E25CE3-8CF9-BAD5-8659-9586C30794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BF637F-EBC4-E490-D501-DBD6C35D2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AB7A00-9133-FF79-79E2-A4A911742BA8}"/>
              </a:ext>
            </a:extLst>
          </p:cNvPr>
          <p:cNvSpPr txBox="1"/>
          <p:nvPr/>
        </p:nvSpPr>
        <p:spPr>
          <a:xfrm>
            <a:off x="370417" y="1144862"/>
            <a:ext cx="6453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52B36-BA92-16BE-6EDC-96B5BFA5497B}"/>
              </a:ext>
            </a:extLst>
          </p:cNvPr>
          <p:cNvSpPr txBox="1"/>
          <p:nvPr/>
        </p:nvSpPr>
        <p:spPr>
          <a:xfrm>
            <a:off x="370417" y="2296818"/>
            <a:ext cx="586323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 stronger for partnered household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7% reduction in spending when WFH – 15% for those without children, and 21% for those with childr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te: Household consumption, but this is just the individual working from hom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ponse much weaker for single individuals (2%, insignifican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lthough sole parents have a large estimated response (17%) there are few observations </a:t>
            </a:r>
            <a:br>
              <a:rPr lang="en-US" dirty="0"/>
            </a:br>
            <a:r>
              <a:rPr lang="en-US" dirty="0"/>
              <a:t>and the instrument is weak. </a:t>
            </a:r>
            <a:endParaRPr lang="en-NZ" dirty="0"/>
          </a:p>
        </p:txBody>
      </p:sp>
      <p:pic>
        <p:nvPicPr>
          <p:cNvPr id="8" name="Picture 7" descr="A graph of a couple working from home&#10;&#10;Description automatically generated">
            <a:extLst>
              <a:ext uri="{FF2B5EF4-FFF2-40B4-BE49-F238E27FC236}">
                <a16:creationId xmlns:a16="http://schemas.microsoft.com/office/drawing/2014/main" id="{C476341D-6FDB-F74D-318A-8E4F4126EB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283" y="1144863"/>
            <a:ext cx="50673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2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General findings for Australia</a:t>
            </a:r>
            <a:r>
              <a:rPr lang="en-US" dirty="0"/>
              <a:t>: Expenditure declines persistently – by about 10% - following the experience of job loss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B6BB05-9A4F-ADE2-6BAD-7F3DFBA8B9B1}"/>
              </a:ext>
            </a:extLst>
          </p:cNvPr>
          <p:cNvSpPr txBox="1"/>
          <p:nvPr/>
        </p:nvSpPr>
        <p:spPr>
          <a:xfrm flipH="1">
            <a:off x="598813" y="4446930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clusion</a:t>
            </a:r>
            <a:r>
              <a:rPr lang="en-US" dirty="0"/>
              <a:t>: High level evidence that current benefit targeting is appropriate – especially for couples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 for toda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6A3AD3-379F-3F40-91AA-24DD5BB88CCB}"/>
              </a:ext>
            </a:extLst>
          </p:cNvPr>
          <p:cNvGrpSpPr/>
          <p:nvPr/>
        </p:nvGrpSpPr>
        <p:grpSpPr>
          <a:xfrm>
            <a:off x="473685" y="1948637"/>
            <a:ext cx="9998791" cy="1623927"/>
            <a:chOff x="598813" y="3340823"/>
            <a:chExt cx="9998791" cy="16239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60A2F4A-0C3E-AF4A-22B7-A2FAEF821371}"/>
                </a:ext>
              </a:extLst>
            </p:cNvPr>
            <p:cNvSpPr txBox="1"/>
            <p:nvPr/>
          </p:nvSpPr>
          <p:spPr>
            <a:xfrm flipH="1">
              <a:off x="598813" y="4041420"/>
              <a:ext cx="999879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What are the expenditure responses to job los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do these expenditure responses differ by benefit status and family statu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much is this a reduction in income vs a reduction in work related expenses?</a:t>
              </a: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565D1D-091E-27D7-AE4A-367E69FA18FB}"/>
                </a:ext>
              </a:extLst>
            </p:cNvPr>
            <p:cNvSpPr txBox="1"/>
            <p:nvPr/>
          </p:nvSpPr>
          <p:spPr>
            <a:xfrm flipH="1">
              <a:off x="598813" y="3340823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im to answer this by asking:</a:t>
              </a:r>
              <a:endParaRPr lang="en-AU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AF9CA02-07EA-92DA-4409-002A8417E168}"/>
              </a:ext>
            </a:extLst>
          </p:cNvPr>
          <p:cNvSpPr txBox="1"/>
          <p:nvPr/>
        </p:nvSpPr>
        <p:spPr>
          <a:xfrm flipH="1">
            <a:off x="473685" y="124804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00B050"/>
                </a:solidFill>
              </a:rPr>
              <a:t>Are JSP eligibility rules “well targeted”</a:t>
            </a:r>
            <a:endParaRPr lang="en-AU" i="1" dirty="0">
              <a:solidFill>
                <a:srgbClr val="00B05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BB2BB4-A294-FEE7-7DC6-0F4206E74CCF}"/>
              </a:ext>
            </a:extLst>
          </p:cNvPr>
          <p:cNvSpPr txBox="1"/>
          <p:nvPr/>
        </p:nvSpPr>
        <p:spPr>
          <a:xfrm>
            <a:off x="473685" y="4281260"/>
            <a:ext cx="9519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The idea is that, if those who don’t receive the JSP on job loss don’t reduce </a:t>
            </a:r>
            <a:r>
              <a:rPr lang="en-AU" b="1" i="1" dirty="0"/>
              <a:t>consumption</a:t>
            </a:r>
            <a:r>
              <a:rPr lang="en-AU" i="1" dirty="0"/>
              <a:t> </a:t>
            </a:r>
          </a:p>
          <a:p>
            <a:r>
              <a:rPr lang="en-AU" i="1" dirty="0"/>
              <a:t>then the selection criteria are excluding those who are already insured against such los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E3D4D-CEBE-CF65-CE54-052755EFF598}"/>
              </a:ext>
            </a:extLst>
          </p:cNvPr>
          <p:cNvSpPr txBox="1"/>
          <p:nvPr/>
        </p:nvSpPr>
        <p:spPr>
          <a:xfrm>
            <a:off x="473684" y="5394242"/>
            <a:ext cx="107846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By not paying benefits to those who are already insured we improve </a:t>
            </a:r>
            <a:r>
              <a:rPr lang="en-AU" b="1" i="1" dirty="0"/>
              <a:t>targeting efficiency</a:t>
            </a:r>
            <a:r>
              <a:rPr lang="en-AU" i="1" dirty="0"/>
              <a:t> – supporting</a:t>
            </a:r>
            <a:br>
              <a:rPr lang="en-AU" i="1" dirty="0"/>
            </a:br>
            <a:r>
              <a:rPr lang="en-AU" i="1" dirty="0"/>
              <a:t>those that require the payment at a lower fiscal cost.</a:t>
            </a:r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  <p:pic>
        <p:nvPicPr>
          <p:cNvPr id="2" name="Picture 1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0B728827-B7B5-8742-0D7C-0215A7947A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51" y="1891938"/>
            <a:ext cx="5154649" cy="355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129561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1969897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f individuals can </a:t>
            </a:r>
            <a:r>
              <a:rPr lang="en-US" b="1" dirty="0"/>
              <a:t>perfectly insure</a:t>
            </a:r>
            <a:r>
              <a:rPr lang="en-US" dirty="0"/>
              <a:t> against job loss risk, there should be no change in consumption from job loss.</a:t>
            </a:r>
            <a:endParaRPr lang="en-AU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184155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2860989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329881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6298" y="374812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2218" y="4554564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– mass layoffs (PLIDA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1" y="4623270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118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(unless a TWFE approach is listed) use a Sun and Abraham (2020) interaction-weighted</a:t>
            </a:r>
            <a:br>
              <a:rPr lang="en-US" dirty="0"/>
            </a:br>
            <a:r>
              <a:rPr lang="en-US" dirty="0"/>
              <a:t>event study approach. The general specification is similar, with everything estimated at the </a:t>
            </a:r>
            <a:r>
              <a:rPr lang="en-US" dirty="0" err="1"/>
              <a:t>individual:cohort</a:t>
            </a:r>
            <a:r>
              <a:rPr lang="en-US" dirty="0"/>
              <a:t> level </a:t>
            </a:r>
            <a:br>
              <a:rPr lang="en-US" dirty="0"/>
            </a:br>
            <a:r>
              <a:rPr lang="en-US" dirty="0"/>
              <a:t>rather than individual level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72632" y="2976215"/>
            <a:ext cx="11070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. Both treatment and</a:t>
            </a:r>
          </a:p>
          <a:p>
            <a:r>
              <a:rPr lang="en-US" dirty="0"/>
              <a:t>control individuals require six years of tenure and to be in a firm of sufficient size (to trigger a mass layoff)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329E63-FF3A-9B01-1A1D-DF399FE5EA0A}"/>
              </a:ext>
            </a:extLst>
          </p:cNvPr>
          <p:cNvSpPr txBox="1"/>
          <p:nvPr/>
        </p:nvSpPr>
        <p:spPr>
          <a:xfrm>
            <a:off x="472631" y="3798329"/>
            <a:ext cx="112326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ss layoff is defined as a situation where a firm loses at least 30% of its staff in a given year, and does not</a:t>
            </a:r>
            <a:br>
              <a:rPr lang="en-US" dirty="0"/>
            </a:br>
            <a:r>
              <a:rPr lang="en-US" dirty="0"/>
              <a:t>rehire in the following year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Outcome of group ass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5D978-77CA-5C1C-FEE1-65C0F362C718}"/>
              </a:ext>
            </a:extLst>
          </p:cNvPr>
          <p:cNvSpPr txBox="1"/>
          <p:nvPr/>
        </p:nvSpPr>
        <p:spPr>
          <a:xfrm>
            <a:off x="698643" y="5876818"/>
            <a:ext cx="907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the coming slides we will outline how the treatment and control groups are assigned.</a:t>
            </a:r>
            <a:endParaRPr lang="en-AU"/>
          </a:p>
        </p:txBody>
      </p:sp>
      <p:pic>
        <p:nvPicPr>
          <p:cNvPr id="11" name="Picture 10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AED52A86-343A-D1EB-71DF-F2764A4D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809" y="1162050"/>
            <a:ext cx="56007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95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p-time treatment effects – wage scars</a:t>
            </a:r>
            <a:endParaRPr lang="en-AU"/>
          </a:p>
        </p:txBody>
      </p:sp>
      <p:pic>
        <p:nvPicPr>
          <p:cNvPr id="8" name="Picture 7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9C64F143-67BE-160D-44E5-6C01ED5CC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74" y="1280818"/>
            <a:ext cx="6153150" cy="4591050"/>
          </a:xfrm>
          <a:prstGeom prst="rect">
            <a:avLst/>
          </a:prstGeom>
        </p:spPr>
      </p:pic>
      <p:pic>
        <p:nvPicPr>
          <p:cNvPr id="10" name="Picture 9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D1FC403C-D8B4-11A6-7445-B62A48C269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74" y="1280818"/>
            <a:ext cx="6153149" cy="4591049"/>
          </a:xfrm>
          <a:prstGeom prst="rect">
            <a:avLst/>
          </a:prstGeom>
        </p:spPr>
      </p:pic>
      <p:pic>
        <p:nvPicPr>
          <p:cNvPr id="15" name="Picture 14" descr="A graph of a patient's health&#10;&#10;Description automatically generated with medium confidence">
            <a:extLst>
              <a:ext uri="{FF2B5EF4-FFF2-40B4-BE49-F238E27FC236}">
                <a16:creationId xmlns:a16="http://schemas.microsoft.com/office/drawing/2014/main" id="{23801B57-F185-7FB9-2579-39B0FF46C8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575" y="1280817"/>
            <a:ext cx="6153150" cy="4591050"/>
          </a:xfrm>
          <a:prstGeom prst="rect">
            <a:avLst/>
          </a:prstGeom>
        </p:spPr>
      </p:pic>
      <p:pic>
        <p:nvPicPr>
          <p:cNvPr id="17" name="Picture 16" descr="A graph of a patient's health&#10;&#10;Description automatically generated">
            <a:extLst>
              <a:ext uri="{FF2B5EF4-FFF2-40B4-BE49-F238E27FC236}">
                <a16:creationId xmlns:a16="http://schemas.microsoft.com/office/drawing/2014/main" id="{D54DAD86-BCA4-B278-B4A1-F553E42909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604" y="1071267"/>
            <a:ext cx="6201320" cy="483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dustry result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A19EC-0E23-282C-A9EC-D5CFDDA0BFD3}"/>
              </a:ext>
            </a:extLst>
          </p:cNvPr>
          <p:cNvSpPr txBox="1"/>
          <p:nvPr/>
        </p:nvSpPr>
        <p:spPr>
          <a:xfrm>
            <a:off x="462337" y="1280818"/>
            <a:ext cx="5542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 this stage we only have high level industry results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462337" y="5538727"/>
            <a:ext cx="10714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imary industries (agriculture, mining) have a larger scars (as in Dwyer et al (2023) and IFS (2023)). </a:t>
            </a:r>
          </a:p>
          <a:p>
            <a:r>
              <a:rPr lang="en-US" dirty="0"/>
              <a:t>However, the trajectory by broad industry is similar.</a:t>
            </a:r>
            <a:endParaRPr lang="en-AU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14F99C-7DBB-3674-47DD-4981E472A4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15" y="1855846"/>
            <a:ext cx="4288788" cy="3515639"/>
          </a:xfrm>
          <a:prstGeom prst="rect">
            <a:avLst/>
          </a:prstGeom>
        </p:spPr>
      </p:pic>
      <p:pic>
        <p:nvPicPr>
          <p:cNvPr id="16" name="Picture 1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D601075-35A1-9FBC-8C90-52DDCE5CC3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855845"/>
            <a:ext cx="4398289" cy="35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6889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terogeneity – Industry mobil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370417" y="5152695"/>
            <a:ext cx="101622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ment shares similar across industry groups (except primary which is much lower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ong-tenure assumptions limit treated number from sales, expand numbers from public servic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dirty="0"/>
              <a:t>Larger scaring occurs in sectors where more individuals transition to another sect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0A859-EA82-C69E-8A33-45B4252D5F16}"/>
              </a:ext>
            </a:extLst>
          </p:cNvPr>
          <p:cNvSpPr txBox="1"/>
          <p:nvPr/>
        </p:nvSpPr>
        <p:spPr>
          <a:xfrm>
            <a:off x="1615165" y="1197592"/>
            <a:ext cx="8802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Y-axis reflects industry prior to mass layoff, </a:t>
            </a:r>
            <a:r>
              <a:rPr lang="en-US" i="1" dirty="0" err="1"/>
              <a:t>colour</a:t>
            </a:r>
            <a:r>
              <a:rPr lang="en-US" i="1" dirty="0"/>
              <a:t> represents transition 5 years later.</a:t>
            </a:r>
            <a:endParaRPr lang="en-AU" i="1" dirty="0"/>
          </a:p>
        </p:txBody>
      </p:sp>
      <p:pic>
        <p:nvPicPr>
          <p:cNvPr id="8" name="Picture 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7371E449-1F9A-3FAD-F46E-F34D9CAA5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5" y="1723184"/>
            <a:ext cx="5413067" cy="3115434"/>
          </a:xfrm>
          <a:prstGeom prst="rect">
            <a:avLst/>
          </a:prstGeom>
        </p:spPr>
      </p:pic>
      <p:pic>
        <p:nvPicPr>
          <p:cNvPr id="12" name="Picture 11" descr="A graph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4D0D8DB2-7FAE-9105-6F7F-EC6952F4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72" y="1754694"/>
            <a:ext cx="5017943" cy="2924125"/>
          </a:xfrm>
          <a:prstGeom prst="rect">
            <a:avLst/>
          </a:prstGeom>
        </p:spPr>
      </p:pic>
      <p:pic>
        <p:nvPicPr>
          <p:cNvPr id="15" name="Picture 14" descr="A graph of blue squares&#10;&#10;Description automatically generated">
            <a:extLst>
              <a:ext uri="{FF2B5EF4-FFF2-40B4-BE49-F238E27FC236}">
                <a16:creationId xmlns:a16="http://schemas.microsoft.com/office/drawing/2014/main" id="{258195B1-CF4B-2D31-E9C8-FA40F7A8A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36" y="1594895"/>
            <a:ext cx="4646311" cy="35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5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come bi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778-A9CC-0EBB-EC9A-6B1500731859}"/>
              </a:ext>
            </a:extLst>
          </p:cNvPr>
          <p:cNvSpPr txBox="1"/>
          <p:nvPr/>
        </p:nvSpPr>
        <p:spPr>
          <a:xfrm>
            <a:off x="413671" y="5147261"/>
            <a:ext cx="7611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p and bottom quantile experiences the largest proportional scarring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B2A33-9116-3BB8-81E6-FAC3713EA8C5}"/>
              </a:ext>
            </a:extLst>
          </p:cNvPr>
          <p:cNvSpPr txBox="1"/>
          <p:nvPr/>
        </p:nvSpPr>
        <p:spPr>
          <a:xfrm>
            <a:off x="413671" y="5855578"/>
            <a:ext cx="842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ffers from US results of similar distributional scarring (Rose &amp; </a:t>
            </a:r>
            <a:r>
              <a:rPr lang="en-NZ" dirty="0"/>
              <a:t>Shem-Tov 2023).</a:t>
            </a:r>
            <a:endParaRPr lang="en-AU" dirty="0"/>
          </a:p>
        </p:txBody>
      </p:sp>
      <p:pic>
        <p:nvPicPr>
          <p:cNvPr id="12" name="Picture 11" descr="A graph of a graph showing the amount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D7032F44-020E-9642-AB06-62689914D8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6" y="1137682"/>
            <a:ext cx="5695313" cy="3773365"/>
          </a:xfrm>
          <a:prstGeom prst="rect">
            <a:avLst/>
          </a:prstGeom>
        </p:spPr>
      </p:pic>
      <p:pic>
        <p:nvPicPr>
          <p:cNvPr id="16" name="Picture 15" descr="A graph of a graph showing the amount of a scar that has been stacked&#10;&#10;Description automatically generated with medium confidence">
            <a:extLst>
              <a:ext uri="{FF2B5EF4-FFF2-40B4-BE49-F238E27FC236}">
                <a16:creationId xmlns:a16="http://schemas.microsoft.com/office/drawing/2014/main" id="{11ABF242-1F1C-E09C-92A8-06920F0744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40" y="1133817"/>
            <a:ext cx="5695313" cy="386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1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2796F-FA20-78CD-BFB9-9AB457F4B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8D6730-1415-EBB3-F95D-6C7141050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A24AA6-4A25-773D-A69B-52B8D8D5E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CA41D1-DA23-B83C-B83B-2B07EF4BE3B0}"/>
              </a:ext>
            </a:extLst>
          </p:cNvPr>
          <p:cNvGrpSpPr/>
          <p:nvPr/>
        </p:nvGrpSpPr>
        <p:grpSpPr>
          <a:xfrm>
            <a:off x="598811" y="2913452"/>
            <a:ext cx="10178292" cy="3364327"/>
            <a:chOff x="598812" y="3340823"/>
            <a:chExt cx="10178292" cy="33643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5F22D7D-E949-32BB-ABA4-162E07FF8855}"/>
                </a:ext>
              </a:extLst>
            </p:cNvPr>
            <p:cNvSpPr txBox="1"/>
            <p:nvPr/>
          </p:nvSpPr>
          <p:spPr>
            <a:xfrm flipH="1">
              <a:off x="598813" y="4209894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Results</a:t>
              </a:r>
              <a:endParaRPr lang="en-AU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A269BF-3079-733D-BDB2-3E83F00FC432}"/>
                </a:ext>
              </a:extLst>
            </p:cNvPr>
            <p:cNvSpPr txBox="1"/>
            <p:nvPr/>
          </p:nvSpPr>
          <p:spPr>
            <a:xfrm flipH="1">
              <a:off x="778313" y="4673825"/>
              <a:ext cx="9998791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xpenditure declines persistently – by about 10% - following the experience of job los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levated job loss expectations explain part of the initial declin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Voluntarily displaced individuals, and individuals who don’t take up benefits, experience smaller declin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ork related expenses appear to explain most of the initial decline in expenditure for non-recipient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CA7F21D-5F05-0E51-6F90-7AB47AB516CE}"/>
                </a:ext>
              </a:extLst>
            </p:cNvPr>
            <p:cNvSpPr txBox="1"/>
            <p:nvPr/>
          </p:nvSpPr>
          <p:spPr>
            <a:xfrm flipH="1">
              <a:off x="598812" y="3340823"/>
              <a:ext cx="95269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 dirty="0"/>
                <a:t>Answer</a:t>
              </a:r>
              <a:r>
                <a:rPr lang="en-US" i="1" dirty="0"/>
                <a:t>: Benefit targeting looks effective at reducing fiscal costs while targeting those who need the additional insurance – especially among those who are in a relationship.</a:t>
              </a:r>
              <a:endParaRPr lang="en-AU" i="1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756EFB6-B854-928D-F351-FFE30C59EF68}"/>
              </a:ext>
            </a:extLst>
          </p:cNvPr>
          <p:cNvSpPr txBox="1"/>
          <p:nvPr/>
        </p:nvSpPr>
        <p:spPr>
          <a:xfrm flipH="1">
            <a:off x="598813" y="1061114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thods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15ECE0-16DB-A995-DA92-0B7E98CA917B}"/>
              </a:ext>
            </a:extLst>
          </p:cNvPr>
          <p:cNvSpPr txBox="1"/>
          <p:nvPr/>
        </p:nvSpPr>
        <p:spPr>
          <a:xfrm flipH="1">
            <a:off x="778312" y="1478195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nditure</a:t>
            </a:r>
            <a:r>
              <a:rPr lang="en-US" dirty="0"/>
              <a:t> </a:t>
            </a:r>
            <a:r>
              <a:rPr lang="en-US" b="1" dirty="0"/>
              <a:t>scars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Event study</a:t>
            </a:r>
            <a:r>
              <a:rPr lang="en-US" dirty="0"/>
              <a:t> estimate of the dynamic path of expenditure for those who lose their job, relative to those who don’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parating final and intermediate consumption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Instrumental variable approach</a:t>
            </a:r>
            <a:r>
              <a:rPr lang="en-US" dirty="0"/>
              <a:t> to estimate the expenditure decline due to working from ho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31279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77416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 for the </a:t>
            </a:r>
            <a:r>
              <a:rPr lang="en-US" b="1" dirty="0"/>
              <a:t>head of the household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636 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 – 178 individua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 – 434 individuals.</a:t>
            </a:r>
            <a:endParaRPr lang="en-AU" dirty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</a:t>
            </a:r>
            <a:r>
              <a:rPr lang="en-AU" dirty="0">
                <a:hlinkClick r:id="rId2" action="ppaction://hlinksldjump"/>
              </a:rPr>
              <a:t>Appendix</a:t>
            </a:r>
            <a:r>
              <a:rPr lang="en-AU" dirty="0"/>
              <a:t>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82994-9224-09C2-7F87-93ECA8FF6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82111-9AA6-444F-FE0C-AF016CBC99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A00600-9B15-0BAC-98FE-332C3C13C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BE1726-E04C-008E-2272-A775EFC59822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  <p:pic>
        <p:nvPicPr>
          <p:cNvPr id="7" name="Picture 6" descr="A graph of a graph with blue lines&#10;&#10;Description automatically generated with medium confidence">
            <a:extLst>
              <a:ext uri="{FF2B5EF4-FFF2-40B4-BE49-F238E27FC236}">
                <a16:creationId xmlns:a16="http://schemas.microsoft.com/office/drawing/2014/main" id="{438E566F-BF8F-CE92-C0C5-434C82D77F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037" y="2048679"/>
            <a:ext cx="560070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32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32663"/>
            <a:ext cx="11459365" cy="700597"/>
          </a:xfrm>
        </p:spPr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637627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/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AU" dirty="0"/>
                  <a:t>reflects the log consumption of individual </a:t>
                </a:r>
                <a:r>
                  <a:rPr lang="en-AU" i="1" dirty="0" err="1"/>
                  <a:t>i</a:t>
                </a:r>
                <a:r>
                  <a:rPr lang="en-AU" i="1" dirty="0"/>
                  <a:t> </a:t>
                </a:r>
                <a:r>
                  <a:rPr lang="en-AU" dirty="0"/>
                  <a:t>at time </a:t>
                </a:r>
                <a:r>
                  <a:rPr lang="en-AU" i="1" dirty="0"/>
                  <a:t>t</a:t>
                </a:r>
                <a:r>
                  <a:rPr lang="en-AU" dirty="0"/>
                  <a:t>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 are individual and time fixed effects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s an idiosyncratic error term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re a set of time varying individual characteristics: age squared, square root of number of persons </a:t>
                </a:r>
                <a:br>
                  <a:rPr lang="en-AU" dirty="0"/>
                </a:br>
                <a:r>
                  <a:rPr lang="en-AU" dirty="0"/>
                  <a:t>in household, duration of unemployment, other (non-first tier) transfers, number of children, relationship,</a:t>
                </a:r>
                <a:br>
                  <a:rPr lang="en-AU" dirty="0"/>
                </a:br>
                <a:r>
                  <a:rPr lang="en-AU" dirty="0"/>
                  <a:t>real personal income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𝑔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𝑘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AU" dirty="0"/>
                  <a:t> is an indicator variable that takes a value of 1 if the </a:t>
                </a:r>
                <a:r>
                  <a:rPr lang="en-AU" i="1" dirty="0" err="1"/>
                  <a:t>gth</a:t>
                </a:r>
                <a:r>
                  <a:rPr lang="en-AU" dirty="0"/>
                  <a:t> cohort is </a:t>
                </a:r>
                <a:r>
                  <a:rPr lang="en-AU" i="1" dirty="0"/>
                  <a:t>k</a:t>
                </a:r>
                <a:r>
                  <a:rPr lang="en-AU" dirty="0"/>
                  <a:t> periods away from</a:t>
                </a:r>
                <a:br>
                  <a:rPr lang="en-AU" dirty="0"/>
                </a:br>
                <a:r>
                  <a:rPr lang="en-AU" dirty="0"/>
                  <a:t>treatment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AU" dirty="0"/>
                  <a:t> is an indicator that takes a value of 1 is if this is a treated individual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This is estimated using an interaction weighted estimator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An effect is estimated for each cohort (year of treatment), which are then aggregated up based</a:t>
                </a:r>
                <a:br>
                  <a:rPr lang="en-AU" dirty="0"/>
                </a:br>
                <a:r>
                  <a:rPr lang="en-AU" dirty="0"/>
                  <a:t>on the cohort size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Use </a:t>
                </a:r>
                <a:r>
                  <a:rPr lang="en-AU" dirty="0" err="1"/>
                  <a:t>sunab</a:t>
                </a:r>
                <a:r>
                  <a:rPr lang="en-AU" dirty="0"/>
                  <a:t> function in R, so control group is made up of both never and not-yet treated.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blipFill>
                <a:blip r:embed="rId3"/>
                <a:stretch>
                  <a:fillRect l="-326" t="-809" b="-121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6497</TotalTime>
  <Words>2859</Words>
  <Application>Microsoft Office PowerPoint</Application>
  <PresentationFormat>Widescreen</PresentationFormat>
  <Paragraphs>305</Paragraphs>
  <Slides>4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7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Effectiveness of benefit targeting</vt:lpstr>
      <vt:lpstr>Motivation: Reforming social security into “unemployment insurance”</vt:lpstr>
      <vt:lpstr>Question for today</vt:lpstr>
      <vt:lpstr>Insurance and optimal benefits</vt:lpstr>
      <vt:lpstr>Summary</vt:lpstr>
      <vt:lpstr>PowerPoint Presentation</vt:lpstr>
      <vt:lpstr>Data</vt:lpstr>
      <vt:lpstr>Data</vt:lpstr>
      <vt:lpstr>Approach</vt:lpstr>
      <vt:lpstr>Approach</vt:lpstr>
      <vt:lpstr>Why would expenditure change after job loss?</vt:lpstr>
      <vt:lpstr>Expenditure Scar</vt:lpstr>
      <vt:lpstr>Type of unemployment scar</vt:lpstr>
      <vt:lpstr>PowerPoint Presentation</vt:lpstr>
      <vt:lpstr>Individuals, government, determine whether you receive income support</vt:lpstr>
      <vt:lpstr>Benefit type</vt:lpstr>
      <vt:lpstr>Benefit type: Partnership status</vt:lpstr>
      <vt:lpstr>PowerPoint Presentation</vt:lpstr>
      <vt:lpstr>Why would expenditure change after job loss?</vt:lpstr>
      <vt:lpstr>Non-recipients and the role of employment</vt:lpstr>
      <vt:lpstr>Work related expenses</vt:lpstr>
      <vt:lpstr>Work related expenses</vt:lpstr>
      <vt:lpstr>COVID Working from home</vt:lpstr>
      <vt:lpstr>First stage</vt:lpstr>
      <vt:lpstr>COVID Working from home</vt:lpstr>
      <vt:lpstr>COVID Working from home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– mass layoffs (PLIDA)</vt:lpstr>
      <vt:lpstr>Outcome of group assignment</vt:lpstr>
      <vt:lpstr>Group-time treatment effects – wage scars</vt:lpstr>
      <vt:lpstr>Heterogeneity – Industry results</vt:lpstr>
      <vt:lpstr>Heterogeneity – Industry mobility</vt:lpstr>
      <vt:lpstr>Heterogeneity – Income bi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74</cp:revision>
  <dcterms:created xsi:type="dcterms:W3CDTF">2024-01-15T03:02:27Z</dcterms:created>
  <dcterms:modified xsi:type="dcterms:W3CDTF">2024-11-21T19:5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